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64" r:id="rId2"/>
    <p:sldId id="265" r:id="rId3"/>
    <p:sldId id="266" r:id="rId4"/>
    <p:sldId id="267" r:id="rId5"/>
    <p:sldId id="268" r:id="rId6"/>
    <p:sldId id="269" r:id="rId7"/>
  </p:sldIdLst>
  <p:sldSz cx="9728200" cy="7445375"/>
  <p:notesSz cx="6858000" cy="9144000"/>
  <p:defaultTextStyle>
    <a:defPPr>
      <a:defRPr lang="en-US"/>
    </a:defPPr>
    <a:lvl1pPr marL="0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ole Matthews" initials="C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76" autoAdjust="0"/>
  </p:normalViewPr>
  <p:slideViewPr>
    <p:cSldViewPr>
      <p:cViewPr varScale="1">
        <p:scale>
          <a:sx n="64" d="100"/>
          <a:sy n="64" d="100"/>
        </p:scale>
        <p:origin x="-1440" y="-108"/>
      </p:cViewPr>
      <p:guideLst>
        <p:guide orient="horz" pos="2345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D41D2-3413-41AD-997C-050B26638127}" type="datetimeFigureOut">
              <a:rPr lang="en-US" smtClean="0"/>
              <a:t>6/26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9038" y="685800"/>
            <a:ext cx="44799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7BA6D-E1D1-499C-A3A4-05A2938FFB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325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5750" y="207963"/>
            <a:ext cx="6286500" cy="481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854" y="8685864"/>
            <a:ext cx="2971593" cy="456574"/>
          </a:xfrm>
          <a:prstGeom prst="rect">
            <a:avLst/>
          </a:prstGeom>
        </p:spPr>
        <p:txBody>
          <a:bodyPr lIns="91569" tIns="45786" rIns="91569" bIns="45786"/>
          <a:lstStyle/>
          <a:p>
            <a:fld id="{4687BF53-827A-4A6B-850B-C2772FD2A66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346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5750" y="207963"/>
            <a:ext cx="6286500" cy="481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854" y="8685864"/>
            <a:ext cx="2971593" cy="456574"/>
          </a:xfrm>
          <a:prstGeom prst="rect">
            <a:avLst/>
          </a:prstGeom>
        </p:spPr>
        <p:txBody>
          <a:bodyPr lIns="91569" tIns="45786" rIns="91569" bIns="45786"/>
          <a:lstStyle/>
          <a:p>
            <a:fld id="{4687BF53-827A-4A6B-850B-C2772FD2A66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3464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5750" y="207963"/>
            <a:ext cx="6286500" cy="481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854" y="8685864"/>
            <a:ext cx="2971593" cy="456574"/>
          </a:xfrm>
          <a:prstGeom prst="rect">
            <a:avLst/>
          </a:prstGeom>
        </p:spPr>
        <p:txBody>
          <a:bodyPr lIns="91569" tIns="45786" rIns="91569" bIns="45786"/>
          <a:lstStyle/>
          <a:p>
            <a:fld id="{4687BF53-827A-4A6B-850B-C2772FD2A66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3464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85750" y="207963"/>
            <a:ext cx="6286500" cy="48101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854" y="8685864"/>
            <a:ext cx="2971593" cy="456574"/>
          </a:xfrm>
          <a:prstGeom prst="rect">
            <a:avLst/>
          </a:prstGeom>
        </p:spPr>
        <p:txBody>
          <a:bodyPr lIns="91569" tIns="45786" rIns="91569" bIns="45786"/>
          <a:lstStyle/>
          <a:p>
            <a:fld id="{4687BF53-827A-4A6B-850B-C2772FD2A66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7346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5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image" Target="../media/image4.png"/><Relationship Id="rId5" Type="http://schemas.openxmlformats.org/officeDocument/2006/relationships/tags" Target="../tags/tag7.xml"/><Relationship Id="rId1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480107" y="2928426"/>
            <a:ext cx="4918669" cy="1920649"/>
          </a:xfrm>
        </p:spPr>
        <p:txBody>
          <a:bodyPr/>
          <a:lstStyle/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881" y="2717050"/>
            <a:ext cx="5966438" cy="201127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11" y="298161"/>
            <a:ext cx="8755380" cy="124089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411" y="1737254"/>
            <a:ext cx="8755380" cy="491360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9620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5" y="1403648"/>
            <a:ext cx="897743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271289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8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7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336704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617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336703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356441" y="1509082"/>
            <a:ext cx="2879529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745" y="1271289"/>
            <a:ext cx="2879529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 rtl="0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095043" y="1432230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3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092377" y="1152391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74844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092378" y="4394567"/>
            <a:ext cx="4260155" cy="266472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74843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5092377" y="4143117"/>
            <a:ext cx="4260410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0908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75130" y="1417940"/>
            <a:ext cx="8977942" cy="55332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4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70000" lvl="0" indent="-271463" algn="l" defTabSz="981075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 and 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76176" y="1510352"/>
            <a:ext cx="4260155" cy="553202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71463" indent="-271463" algn="l" defTabSz="981075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4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3"/>
          </p:nvPr>
        </p:nvSpPr>
        <p:spPr>
          <a:xfrm>
            <a:off x="5092377" y="1510352"/>
            <a:ext cx="4260410" cy="5533299"/>
          </a:xfrm>
          <a:prstGeom prst="rect">
            <a:avLst/>
          </a:prstGeom>
        </p:spPr>
        <p:txBody>
          <a:bodyPr>
            <a:normAutofit/>
          </a:bodyPr>
          <a:lstStyle>
            <a:lvl1pPr marL="271463" indent="-271463" algn="l" defTabSz="981075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400" kern="120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77765" y="1271289"/>
            <a:ext cx="4272852" cy="441419"/>
          </a:xfrm>
          <a:blipFill dpi="0" rotWithShape="1">
            <a:blip r:embed="rId3" cstate="print"/>
            <a:srcRect/>
            <a:tile tx="0" ty="0" sx="100000" sy="100000" flip="none" algn="b"/>
          </a:blipFill>
        </p:spPr>
        <p:txBody>
          <a:bodyPr lIns="0" tIns="0" rIns="0" bIns="91440" anchor="b" anchorCtr="0">
            <a:normAutofit/>
          </a:bodyPr>
          <a:lstStyle>
            <a:lvl1pPr marL="0" indent="0" algn="ctr">
              <a:buNone/>
              <a:defRPr sz="1600" b="1" cap="all"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 descr="Bridgespan blue band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05074"/>
            <a:ext cx="8521103" cy="3266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543511" y="3003040"/>
            <a:ext cx="7598360" cy="997413"/>
          </a:xfrm>
          <a:prstGeom prst="rect">
            <a:avLst/>
          </a:prstGeom>
        </p:spPr>
        <p:txBody>
          <a:bodyPr lIns="45720" tIns="45720" rIns="45720" bIns="45720" anchor="t" anchorCtr="0">
            <a:normAutofit/>
          </a:bodyPr>
          <a:lstStyle>
            <a:lvl1pPr>
              <a:defRPr sz="36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01102" y="4540568"/>
            <a:ext cx="4646841" cy="585341"/>
          </a:xfrm>
          <a:prstGeom prst="rect">
            <a:avLst/>
          </a:prstGeom>
        </p:spPr>
        <p:txBody>
          <a:bodyPr lIns="45720" rIns="45720">
            <a:norm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906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6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33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4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5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03" y="446495"/>
            <a:ext cx="2713140" cy="914595"/>
          </a:xfrm>
          <a:prstGeom prst="rect">
            <a:avLst/>
          </a:prstGeom>
        </p:spPr>
      </p:pic>
      <p:sp>
        <p:nvSpPr>
          <p:cNvPr id="16" name="TextBox 15"/>
          <p:cNvSpPr txBox="1"/>
          <p:nvPr>
            <p:custDataLst>
              <p:tags r:id="rId7"/>
            </p:custDataLst>
          </p:nvPr>
        </p:nvSpPr>
        <p:spPr>
          <a:xfrm>
            <a:off x="4635537" y="5399445"/>
            <a:ext cx="4190316" cy="3386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>
                <a:solidFill>
                  <a:srgbClr val="00A8E2"/>
                </a:solidFill>
                <a:latin typeface="Caecilia LT Std Bold"/>
                <a:cs typeface="Caecilia LT Std Bold"/>
              </a:rPr>
              <a:t>Collaborating to accelerate social impact</a:t>
            </a:r>
            <a:endParaRPr lang="en-US" sz="1600" dirty="0">
              <a:solidFill>
                <a:srgbClr val="00A8E2"/>
              </a:solidFill>
              <a:latin typeface="Caecilia LT Std Bold"/>
              <a:cs typeface="Caecilia LT Std Bold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24" cy="1587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1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24" cy="1587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9971" y="147632"/>
            <a:ext cx="9394466" cy="90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>
          <a:xfrm>
            <a:off x="375383" y="1397297"/>
            <a:ext cx="8977435" cy="55320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9060225" y="7225300"/>
            <a:ext cx="319988" cy="91459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1000" b="0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800" b="0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lang="en-CA" sz="1000" noProof="0" dirty="0"/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0" y="1080230"/>
            <a:ext cx="9728200" cy="144031"/>
          </a:xfrm>
          <a:prstGeom prst="rect">
            <a:avLst/>
          </a:prstGeom>
          <a:gradFill flip="none" rotWithShape="1">
            <a:gsLst>
              <a:gs pos="0">
                <a:srgbClr val="00437A"/>
              </a:gs>
              <a:gs pos="100000">
                <a:srgbClr val="00A9E0"/>
              </a:gs>
            </a:gsLst>
            <a:lin ang="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 smtClean="0">
              <a:solidFill>
                <a:schemeClr val="tx1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7"/>
            </p:custDataLst>
          </p:nvPr>
        </p:nvSpPr>
        <p:spPr>
          <a:xfrm>
            <a:off x="1269793" y="127027"/>
            <a:ext cx="126979" cy="127027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err="1" smtClean="0">
              <a:solidFill>
                <a:schemeClr val="tx2"/>
              </a:solidFill>
            </a:endParaRPr>
          </a:p>
        </p:txBody>
      </p:sp>
      <p:sp>
        <p:nvSpPr>
          <p:cNvPr id="2" name="CreatedFooter"/>
          <p:cNvSpPr txBox="1"/>
          <p:nvPr/>
        </p:nvSpPr>
        <p:spPr>
          <a:xfrm>
            <a:off x="7695950" y="7222045"/>
            <a:ext cx="1371850" cy="9233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r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Leadership development toolkit ...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  <p:sp>
        <p:nvSpPr>
          <p:cNvPr id="3" name="OfficeCode"/>
          <p:cNvSpPr txBox="1"/>
          <p:nvPr>
            <p:custDataLst>
              <p:tags r:id="rId18"/>
            </p:custDataLst>
          </p:nvPr>
        </p:nvSpPr>
        <p:spPr>
          <a:xfrm>
            <a:off x="7335513" y="7222045"/>
            <a:ext cx="208036" cy="92353"/>
          </a:xfrm>
          <a:prstGeom prst="rect">
            <a:avLst/>
          </a:prstGeom>
          <a:noFill/>
        </p:spPr>
        <p:txBody>
          <a:bodyPr vert="horz" wrap="none" lIns="45720" tIns="0" rIns="0" bIns="0" rtlCol="0" anchor="ctr">
            <a:spAutoFit/>
          </a:bodyPr>
          <a:lstStyle/>
          <a:p>
            <a:pPr algn="l"/>
            <a:r>
              <a:rPr lang="en-CA" sz="600" b="0" i="0" u="none" smtClean="0">
                <a:solidFill>
                  <a:schemeClr val="tx1"/>
                </a:solidFill>
                <a:latin typeface="Verdana"/>
              </a:rPr>
              <a:t>TOR</a:t>
            </a:r>
            <a:endParaRPr lang="en-CA" sz="600" b="0" i="0" u="none" dirty="0" smtClean="0">
              <a:solidFill>
                <a:schemeClr val="tx1"/>
              </a:solidFill>
              <a:latin typeface="Verdan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ridgespan.org/Publications-and-Tools/Leadership-Effectiveness/Nonprofit-Leadership-Development-Toolkit/Understand-Future-Needs/Video-Tutorial-Understanding-Your-Future-Leadershi.aspx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Your next step: </a:t>
            </a:r>
            <a:r>
              <a:rPr lang="en-US" dirty="0">
                <a:latin typeface="Arial" pitchFamily="34" charset="0"/>
                <a:cs typeface="Arial" pitchFamily="34" charset="0"/>
              </a:rPr>
              <a:t>Map out your organization’s future needs</a:t>
            </a:r>
          </a:p>
        </p:txBody>
      </p:sp>
      <p:sp>
        <p:nvSpPr>
          <p:cNvPr id="3" name="Notes"/>
          <p:cNvSpPr txBox="1">
            <a:spLocks noChangeArrowheads="1"/>
          </p:cNvSpPr>
          <p:nvPr/>
        </p:nvSpPr>
        <p:spPr bwMode="auto">
          <a:xfrm>
            <a:off x="182851" y="6961314"/>
            <a:ext cx="6961627" cy="15392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r>
              <a:rPr lang="en-CA" sz="1000" noProof="0" smtClean="0">
                <a:latin typeface="Arial" pitchFamily="34" charset="0"/>
                <a:cs typeface="Arial" pitchFamily="34" charset="0"/>
              </a:rPr>
              <a:t> </a:t>
            </a:r>
            <a:endParaRPr lang="en-CA" sz="1000" noProof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81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ducting a Future Needs Assessment</a:t>
            </a:r>
            <a:endParaRPr lang="en-US" dirty="0"/>
          </a:p>
        </p:txBody>
      </p:sp>
      <p:sp>
        <p:nvSpPr>
          <p:cNvPr id="3" name="Source"/>
          <p:cNvSpPr>
            <a:spLocks noGrp="1"/>
          </p:cNvSpPr>
          <p:nvPr/>
        </p:nvSpPr>
        <p:spPr bwMode="auto">
          <a:xfrm>
            <a:off x="520701" y="1741487"/>
            <a:ext cx="8610600" cy="3110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46800" tIns="46800" rIns="46800" bIns="46800" numCol="1" anchor="t" anchorCtr="0" compatLnSpc="1">
            <a:prstTxWarp prst="textNoShape">
              <a:avLst/>
            </a:prstTxWarp>
            <a:spAutoFit/>
          </a:bodyPr>
          <a:lstStyle>
            <a:lvl1pPr marL="173736" indent="-173736" algn="l" defTabSz="981075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 sz="18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448056" indent="-82296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2pPr>
            <a:lvl3pPr marL="813816" indent="-201168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Marlett" pitchFamily="2" charset="2"/>
              <a:buChar char="8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084263" indent="-206375" algn="l" defTabSz="9810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-"/>
              <a:defRPr sz="1600">
                <a:solidFill>
                  <a:schemeClr val="tx1"/>
                </a:solidFill>
                <a:latin typeface="Verdana" pitchFamily="34" charset="0"/>
              </a:defRPr>
            </a:lvl4pPr>
            <a:lvl5pPr marL="21574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5pPr>
            <a:lvl6pPr marL="26146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6pPr>
            <a:lvl7pPr marL="30718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7pPr>
            <a:lvl8pPr marL="35290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8pPr>
            <a:lvl9pPr marL="3986213" indent="-339725" algn="l" defTabSz="981075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FF66"/>
              </a:buClr>
              <a:buFont typeface="Marlett" pitchFamily="2" charset="2"/>
              <a:buChar char="8"/>
              <a:defRPr sz="23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This template accompanies the </a:t>
            </a:r>
            <a:r>
              <a:rPr lang="en-US" dirty="0">
                <a:latin typeface="Arial" pitchFamily="34" charset="0"/>
                <a:cs typeface="Arial" pitchFamily="34" charset="0"/>
                <a:hlinkClick r:id="rId2"/>
              </a:rPr>
              <a:t>Understanding Future Needs video 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pPr lvl="0"/>
            <a:r>
              <a:rPr lang="en-US" dirty="0" smtClean="0">
                <a:latin typeface="Arial" pitchFamily="34" charset="0"/>
                <a:cs typeface="Arial" pitchFamily="34" charset="0"/>
              </a:rPr>
              <a:t>Before you ask how your leadership team will change over time, you should consider how your strategy will change, and ask what skills are required to live into that strategy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Identify 1 key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strategic shift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your organization will make in the next 3-5 years  What will it take to do that well?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How will th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day-to-da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y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work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of leaders change to support this shift?</a:t>
            </a:r>
          </a:p>
          <a:p>
            <a:pPr lvl="1"/>
            <a:r>
              <a:rPr lang="en-US" dirty="0" smtClean="0">
                <a:latin typeface="Arial" pitchFamily="34" charset="0"/>
                <a:cs typeface="Arial" pitchFamily="34" charset="0"/>
              </a:rPr>
              <a:t>What are th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skills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, knowledge, and experience required to do that day-to-day work?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Once you identify those critical skills, map them to specific positions Will you need to create a new role? Or can you just change an existing role?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921714"/>
            <a:ext cx="9728200" cy="1229973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0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or more resources, examples, and information visit:</a:t>
            </a:r>
          </a:p>
          <a:p>
            <a:pPr algn="ctr"/>
            <a:r>
              <a:rPr lang="en-US" sz="20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www.bridgespan.org/leadershiptoolkit</a:t>
            </a:r>
          </a:p>
        </p:txBody>
      </p:sp>
      <p:sp>
        <p:nvSpPr>
          <p:cNvPr id="5" name="Gray2"/>
          <p:cNvSpPr/>
          <p:nvPr/>
        </p:nvSpPr>
        <p:spPr bwMode="auto">
          <a:xfrm>
            <a:off x="596900" y="3875087"/>
            <a:ext cx="311150" cy="311150"/>
          </a:xfrm>
          <a:prstGeom prst="ellipse">
            <a:avLst/>
          </a:prstGeom>
          <a:solidFill>
            <a:srgbClr val="CCCCCC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rgbClr val="000000"/>
                </a:solidFill>
                <a:latin typeface="Verdana" pitchFamily="34" charset="0"/>
              </a:rPr>
              <a:t>3</a:t>
            </a:r>
            <a:endParaRPr lang="en-GB" sz="1600" b="1" dirty="0">
              <a:solidFill>
                <a:srgbClr val="000000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6" name="Gray2"/>
          <p:cNvSpPr/>
          <p:nvPr/>
        </p:nvSpPr>
        <p:spPr bwMode="auto">
          <a:xfrm>
            <a:off x="596900" y="3452812"/>
            <a:ext cx="311150" cy="311150"/>
          </a:xfrm>
          <a:prstGeom prst="ellipse">
            <a:avLst/>
          </a:prstGeom>
          <a:solidFill>
            <a:srgbClr val="CCCCCC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rgbClr val="000000"/>
                </a:solidFill>
                <a:latin typeface="Verdana" pitchFamily="34" charset="0"/>
                <a:cs typeface="+mn-cs"/>
              </a:rPr>
              <a:t>2</a:t>
            </a:r>
            <a:endParaRPr lang="en-GB" sz="1600" b="1" dirty="0">
              <a:solidFill>
                <a:srgbClr val="000000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7" name="Gray2"/>
          <p:cNvSpPr/>
          <p:nvPr/>
        </p:nvSpPr>
        <p:spPr bwMode="auto">
          <a:xfrm>
            <a:off x="596900" y="3030537"/>
            <a:ext cx="311150" cy="311150"/>
          </a:xfrm>
          <a:prstGeom prst="ellipse">
            <a:avLst/>
          </a:prstGeom>
          <a:solidFill>
            <a:srgbClr val="CCCCCC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rgbClr val="000000"/>
                </a:solidFill>
                <a:latin typeface="Verdana" pitchFamily="34" charset="0"/>
                <a:cs typeface="+mn-cs"/>
              </a:rPr>
              <a:t>1</a:t>
            </a:r>
          </a:p>
        </p:txBody>
      </p:sp>
      <p:sp>
        <p:nvSpPr>
          <p:cNvPr id="8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500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1789058"/>
              </p:ext>
            </p:extLst>
          </p:nvPr>
        </p:nvGraphicFramePr>
        <p:xfrm>
          <a:off x="159841" y="3311681"/>
          <a:ext cx="9460782" cy="24345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6481"/>
                <a:gridCol w="3215640"/>
                <a:gridCol w="2968661"/>
              </a:tblGrid>
              <a:tr h="2434537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etermining which insurers to work with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elling partnership to insurers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Work with insurers and clients to engage them in the program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o-marketing and co-selling with insurers</a:t>
                      </a:r>
                    </a:p>
                    <a:p>
                      <a:pPr marL="517333" marR="0" lvl="1" indent="-1841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Marlett" pitchFamily="2" charset="2"/>
                        <a:buChar char="8"/>
                        <a:tabLst>
                          <a:tab pos="796925" algn="l"/>
                        </a:tabLst>
                        <a:defRPr/>
                      </a:pPr>
                      <a:r>
                        <a:rPr kumimoji="0" lang="en-US" sz="12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rPr>
                        <a:t>Work collaboratively with other </a:t>
                      </a:r>
                      <a:r>
                        <a:rPr kumimoji="0" lang="en-US" sz="1200" b="0" i="0" u="none" strike="noStrike" kern="0" cap="none" spc="0" normalizeH="0" baseline="0" noProof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rPr>
                        <a:t>initiative leadership</a:t>
                      </a:r>
                      <a:endParaRPr kumimoji="0" lang="en-U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nalyzing markets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dentifying most attractive partners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eveloping and delivering compelling “pitches’’ that address for-profit motives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dentifying and executing opportunities to bring in traffic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NOTE: These are only a subset of  key behaviors required)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sng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kills</a:t>
                      </a: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: analytical skills, sales “pitch” skills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sng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nowledge</a:t>
                      </a: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: know for-profit motivations, culture, ways of working;  know partner’s industry &amp; business model, know business development processes and approaches</a:t>
                      </a:r>
                      <a:endParaRPr kumimoji="0" lang="en-US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775" y="-43869"/>
            <a:ext cx="9157127" cy="1240895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Example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YMCA’s collaboration with for-profit insurer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96894" y="1681633"/>
            <a:ext cx="9567806" cy="722568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>
              <a:buClr>
                <a:srgbClr val="000000"/>
              </a:buClr>
            </a:pPr>
            <a:r>
              <a:rPr lang="en-US" sz="18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TRATEGIC SHIFT: </a:t>
            </a:r>
            <a:r>
              <a:rPr lang="en-US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YMCA is partnering with for-profit insurers to deliver and be </a:t>
            </a:r>
            <a:r>
              <a:rPr lang="en-US" sz="1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im-bursed</a:t>
            </a:r>
            <a:r>
              <a:rPr lang="en-US" sz="1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for outcomes of participants enrolled in YMCA’s diabetes prevention program (DPP)</a:t>
            </a:r>
          </a:p>
        </p:txBody>
      </p:sp>
      <p:sp>
        <p:nvSpPr>
          <p:cNvPr id="21" name="Right Arrow 20"/>
          <p:cNvSpPr/>
          <p:nvPr/>
        </p:nvSpPr>
        <p:spPr>
          <a:xfrm>
            <a:off x="5673121" y="2806842"/>
            <a:ext cx="982952" cy="267327"/>
          </a:xfrm>
          <a:prstGeom prst="rightArrow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2402657" y="2790795"/>
            <a:ext cx="982952" cy="299419"/>
          </a:xfrm>
          <a:prstGeom prst="rightArrow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3395289" y="2605695"/>
            <a:ext cx="2933025" cy="654604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Day-to-day work</a:t>
            </a:r>
          </a:p>
          <a:p>
            <a:pPr algn="ctr"/>
            <a:r>
              <a:rPr lang="en-US" sz="16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</a:t>
            </a:r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havior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6656073" y="2590591"/>
            <a:ext cx="2933025" cy="654604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kills, knowledge, </a:t>
            </a:r>
          </a:p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xperience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134505" y="2590591"/>
            <a:ext cx="2933025" cy="654604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What it takes </a:t>
            </a:r>
          </a:p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to do  well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82851" y="1284287"/>
            <a:ext cx="9372711" cy="2462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0" rIns="98133" bIns="0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dentify skills, knowledge, traits</a:t>
            </a:r>
            <a:endParaRPr lang="en-US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Gray2"/>
          <p:cNvSpPr/>
          <p:nvPr/>
        </p:nvSpPr>
        <p:spPr bwMode="auto">
          <a:xfrm>
            <a:off x="6656953" y="2606743"/>
            <a:ext cx="311150" cy="311150"/>
          </a:xfrm>
          <a:prstGeom prst="ellipse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chemeClr val="tx2"/>
                </a:solidFill>
                <a:latin typeface="Verdana" pitchFamily="34" charset="0"/>
              </a:rPr>
              <a:t>3</a:t>
            </a:r>
          </a:p>
        </p:txBody>
      </p:sp>
      <p:sp>
        <p:nvSpPr>
          <p:cNvPr id="16" name="Gray2"/>
          <p:cNvSpPr/>
          <p:nvPr/>
        </p:nvSpPr>
        <p:spPr bwMode="auto">
          <a:xfrm>
            <a:off x="3409950" y="2606743"/>
            <a:ext cx="311150" cy="311150"/>
          </a:xfrm>
          <a:prstGeom prst="ellipse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chemeClr val="tx2"/>
                </a:solidFill>
                <a:latin typeface="Verdana" pitchFamily="34" charset="0"/>
                <a:cs typeface="+mn-cs"/>
              </a:rPr>
              <a:t>2</a:t>
            </a:r>
            <a:endParaRPr lang="en-GB" sz="1600" b="1" dirty="0">
              <a:solidFill>
                <a:schemeClr val="tx2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20" name="Gray2"/>
          <p:cNvSpPr/>
          <p:nvPr/>
        </p:nvSpPr>
        <p:spPr bwMode="auto">
          <a:xfrm>
            <a:off x="182851" y="2606743"/>
            <a:ext cx="311150" cy="311150"/>
          </a:xfrm>
          <a:prstGeom prst="ellipse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chemeClr val="tx2"/>
                </a:solidFill>
                <a:latin typeface="Verdana" pitchFamily="34" charset="0"/>
                <a:cs typeface="+mn-cs"/>
              </a:rPr>
              <a:t>1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829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775" y="-43869"/>
            <a:ext cx="9157127" cy="1240895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Example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What were th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new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capabilities needed for the DPP program to be successful? 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4913104" y="1748956"/>
            <a:ext cx="4294396" cy="927076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 anchor="ctr" anchorCtr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New skills, knowledge, and experience? </a:t>
            </a:r>
          </a:p>
          <a:p>
            <a:pPr algn="ctr"/>
            <a:r>
              <a:rPr lang="en-US" sz="1600" i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(from previous page)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444500" y="1748956"/>
            <a:ext cx="4294396" cy="927076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endParaRPr lang="en-US" sz="1600" b="1" dirty="0" smtClean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Leadership p</a:t>
            </a:r>
            <a:r>
              <a:rPr lang="en-US" sz="16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osition</a:t>
            </a:r>
          </a:p>
          <a:p>
            <a:pPr algn="ctr"/>
            <a:r>
              <a:rPr lang="en-US" sz="16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3987764"/>
              </p:ext>
            </p:extLst>
          </p:nvPr>
        </p:nvGraphicFramePr>
        <p:xfrm>
          <a:off x="518287" y="2791231"/>
          <a:ext cx="8455843" cy="29392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9004"/>
                <a:gridCol w="4066839"/>
              </a:tblGrid>
              <a:tr h="1757737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lang="en-US" sz="1600" b="0" i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These attributes are currently shared across several roles in the organization and have not yet been formally assigned to a particular role or roles</a:t>
                      </a: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kills: “sales-pitch” skills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nowledge: know for-profit motivations, culture, way of working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Knowledge: </a:t>
                      </a:r>
                      <a:r>
                        <a:rPr lang="en-US" sz="1600" b="0" baseline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know partner’s industry &amp; business model (specifically, private insurers)</a:t>
                      </a:r>
                      <a:endParaRPr kumimoji="0" lang="en-US" sz="16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81542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Rectangle 11"/>
          <p:cNvSpPr/>
          <p:nvPr/>
        </p:nvSpPr>
        <p:spPr>
          <a:xfrm>
            <a:off x="182850" y="1355716"/>
            <a:ext cx="9372711" cy="2462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0" rIns="98133" bIns="0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p those skills, knowledge, and traits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pecific positions</a:t>
            </a:r>
            <a:endParaRPr lang="en-US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633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ight Arrow 19"/>
          <p:cNvSpPr/>
          <p:nvPr/>
        </p:nvSpPr>
        <p:spPr>
          <a:xfrm>
            <a:off x="5673121" y="2382392"/>
            <a:ext cx="982952" cy="267327"/>
          </a:xfrm>
          <a:prstGeom prst="rightArrow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5919855"/>
              </p:ext>
            </p:extLst>
          </p:nvPr>
        </p:nvGraphicFramePr>
        <p:xfrm>
          <a:off x="134505" y="3143404"/>
          <a:ext cx="9421057" cy="28014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9551"/>
                <a:gridCol w="3139551"/>
                <a:gridCol w="3141955"/>
              </a:tblGrid>
              <a:tr h="933821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x</a:t>
                      </a:r>
                      <a:endParaRPr kumimoji="0" lang="en-US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33821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x</a:t>
                      </a:r>
                      <a:endParaRPr kumimoji="0" lang="en-US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33821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xx</a:t>
                      </a:r>
                      <a:endParaRPr kumimoji="0" lang="en-US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161" y="209081"/>
            <a:ext cx="9157127" cy="676651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Template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What are the capabilities needed for the change in your organization? 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2402657" y="2366345"/>
            <a:ext cx="982952" cy="299419"/>
          </a:xfrm>
          <a:prstGeom prst="rightArrow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3395289" y="2181245"/>
            <a:ext cx="2933025" cy="654604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Day-to-day work</a:t>
            </a:r>
          </a:p>
          <a:p>
            <a:pPr algn="ctr"/>
            <a:r>
              <a:rPr lang="en-US" sz="1600" b="1" dirty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b</a:t>
            </a:r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havior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656073" y="2166140"/>
            <a:ext cx="2933025" cy="654604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Skills, knowledge, and</a:t>
            </a:r>
          </a:p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xperience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160395" y="1668729"/>
            <a:ext cx="9415179" cy="382130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For each strategic initiative or business model change: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34505" y="2166140"/>
            <a:ext cx="2933025" cy="654604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What it takes </a:t>
            </a:r>
          </a:p>
          <a:p>
            <a:pPr algn="ctr"/>
            <a:r>
              <a:rPr lang="en-US" sz="16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to do  wel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82851" y="1300024"/>
            <a:ext cx="9372711" cy="2462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0" rIns="98133" bIns="0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Identify skills, knowledge, traits</a:t>
            </a:r>
            <a:endParaRPr lang="en-US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Gray2"/>
          <p:cNvSpPr/>
          <p:nvPr/>
        </p:nvSpPr>
        <p:spPr bwMode="auto">
          <a:xfrm>
            <a:off x="6656953" y="2192337"/>
            <a:ext cx="311150" cy="311150"/>
          </a:xfrm>
          <a:prstGeom prst="ellipse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chemeClr val="tx2"/>
                </a:solidFill>
                <a:latin typeface="Verdana" pitchFamily="34" charset="0"/>
              </a:rPr>
              <a:t>3</a:t>
            </a:r>
          </a:p>
        </p:txBody>
      </p:sp>
      <p:sp>
        <p:nvSpPr>
          <p:cNvPr id="23" name="Gray2"/>
          <p:cNvSpPr/>
          <p:nvPr/>
        </p:nvSpPr>
        <p:spPr bwMode="auto">
          <a:xfrm>
            <a:off x="3409950" y="2192337"/>
            <a:ext cx="311150" cy="311150"/>
          </a:xfrm>
          <a:prstGeom prst="ellipse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 smtClean="0">
                <a:solidFill>
                  <a:schemeClr val="tx2"/>
                </a:solidFill>
                <a:latin typeface="Verdana" pitchFamily="34" charset="0"/>
                <a:cs typeface="+mn-cs"/>
              </a:rPr>
              <a:t>2</a:t>
            </a:r>
            <a:endParaRPr lang="en-GB" sz="1600" b="1" dirty="0">
              <a:solidFill>
                <a:schemeClr val="tx2"/>
              </a:solidFill>
              <a:latin typeface="Verdana" pitchFamily="34" charset="0"/>
              <a:cs typeface="+mn-cs"/>
            </a:endParaRPr>
          </a:p>
        </p:txBody>
      </p:sp>
      <p:sp>
        <p:nvSpPr>
          <p:cNvPr id="25" name="Gray2"/>
          <p:cNvSpPr/>
          <p:nvPr/>
        </p:nvSpPr>
        <p:spPr bwMode="auto">
          <a:xfrm>
            <a:off x="182851" y="2192337"/>
            <a:ext cx="311150" cy="311150"/>
          </a:xfrm>
          <a:prstGeom prst="ellipse">
            <a:avLst/>
          </a:prstGeom>
          <a:solidFill>
            <a:schemeClr val="accent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defRPr/>
            </a:pPr>
            <a:r>
              <a:rPr lang="en-GB" sz="1600" b="1" dirty="0">
                <a:solidFill>
                  <a:schemeClr val="tx2"/>
                </a:solidFill>
                <a:latin typeface="Verdana" pitchFamily="34" charset="0"/>
                <a:cs typeface="+mn-cs"/>
              </a:rPr>
              <a:t>1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3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182850" y="1279499"/>
            <a:ext cx="9372711" cy="2462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0" rIns="98133" bIns="0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Map those skills, knowledge, and traits </a:t>
            </a:r>
            <a:r>
              <a:rPr lang="en-US" sz="16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6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pecific positions</a:t>
            </a:r>
            <a:endParaRPr lang="en-US" sz="16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3250804" y="1949164"/>
            <a:ext cx="249682" cy="267327"/>
          </a:xfrm>
          <a:prstGeom prst="rightArrow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133" tIns="49067" rIns="98133" bIns="49067"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235182"/>
              </p:ext>
            </p:extLst>
          </p:nvPr>
        </p:nvGraphicFramePr>
        <p:xfrm>
          <a:off x="765480" y="2712387"/>
          <a:ext cx="8132019" cy="35446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04766"/>
                <a:gridCol w="3727253"/>
              </a:tblGrid>
              <a:tr h="1202882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81542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60201"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5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r>
                        <a:rPr kumimoji="0" lang="en-US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…</a:t>
                      </a: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144000" marR="0" lvl="0" indent="-14400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Verdana" pitchFamily="34" charset="0"/>
                        <a:buChar char="•"/>
                        <a:tabLst/>
                        <a:defRPr/>
                      </a:pPr>
                      <a:endParaRPr kumimoji="0" lang="en-US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7282" marR="97282" marT="49636" marB="49636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775" y="-43869"/>
            <a:ext cx="9157127" cy="1240895"/>
          </a:xfrm>
        </p:spPr>
        <p:txBody>
          <a:bodyPr/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Template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What are th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new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capabilities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needed for the change in your organization? 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160296" y="1622800"/>
            <a:ext cx="4047204" cy="927077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 anchor="ctr" anchorCtr="0">
            <a:spAutoFit/>
          </a:bodyPr>
          <a:lstStyle/>
          <a:p>
            <a:pPr algn="ctr"/>
            <a:r>
              <a:rPr lang="en-US" sz="1600" b="1" dirty="0">
                <a:latin typeface="Arial" pitchFamily="34" charset="0"/>
                <a:cs typeface="Arial" pitchFamily="34" charset="0"/>
              </a:rPr>
              <a:t>New skills, knowledge, and experience? </a:t>
            </a:r>
          </a:p>
          <a:p>
            <a:pPr algn="ctr"/>
            <a:r>
              <a:rPr lang="en-US" sz="1600" i="1" dirty="0">
                <a:latin typeface="Arial" pitchFamily="34" charset="0"/>
                <a:cs typeface="Arial" pitchFamily="34" charset="0"/>
              </a:rPr>
              <a:t>(from previous page)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722104" y="1622801"/>
            <a:ext cx="4147101" cy="927076"/>
          </a:xfrm>
          <a:prstGeom prst="round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98133" tIns="49067" rIns="98133" bIns="49067" rtlCol="0">
            <a:spAutoFit/>
          </a:bodyPr>
          <a:lstStyle/>
          <a:p>
            <a:pPr algn="ctr"/>
            <a:endParaRPr lang="en-US" sz="1600" b="1" dirty="0" smtClean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Leadership p</a:t>
            </a:r>
            <a:r>
              <a:rPr lang="en-US" sz="16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osition</a:t>
            </a:r>
          </a:p>
          <a:p>
            <a:pPr algn="ctr"/>
            <a:r>
              <a:rPr lang="en-US" sz="16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</a:t>
            </a:r>
          </a:p>
        </p:txBody>
      </p:sp>
      <p:sp>
        <p:nvSpPr>
          <p:cNvPr id="26" name="Rectangular Callout 25"/>
          <p:cNvSpPr/>
          <p:nvPr/>
        </p:nvSpPr>
        <p:spPr>
          <a:xfrm>
            <a:off x="7226300" y="5448648"/>
            <a:ext cx="2058778" cy="1703039"/>
          </a:xfrm>
          <a:prstGeom prst="wedgeRectCallout">
            <a:avLst>
              <a:gd name="adj1" fmla="val -67906"/>
              <a:gd name="adj2" fmla="val -41726"/>
            </a:avLst>
          </a:prstGeom>
          <a:solidFill>
            <a:srgbClr val="99CCFF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f you have numerous new behaviors without a clear position assigned to them, you should consider creating a new position.</a:t>
            </a: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999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LLOWANCHOR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nDMh0XEkqkgXFLxGIx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tVF8OH0kKrrvrzwuF9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vzlwXMjUuS4_sExiSP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Dx1egjsUKcCJlSqYht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GBtBH7BUWuVt1IftgjSA"/>
</p:tagLst>
</file>

<file path=ppt/theme/theme1.xml><?xml version="1.0" encoding="utf-8"?>
<a:theme xmlns:a="http://schemas.openxmlformats.org/drawingml/2006/main" name="Bridgespan Group">
  <a:themeElements>
    <a:clrScheme name="Custom 3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A9E0"/>
      </a:hlink>
      <a:folHlink>
        <a:srgbClr val="7030A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ridgespan Group</Template>
  <TotalTime>110</TotalTime>
  <Words>551</Words>
  <Application>Microsoft Office PowerPoint</Application>
  <PresentationFormat>Custom</PresentationFormat>
  <Paragraphs>97</Paragraphs>
  <Slides>6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Bridgespan Group</vt:lpstr>
      <vt:lpstr>think-cell Slide</vt:lpstr>
      <vt:lpstr>Your next step: Map out your organization’s future needs</vt:lpstr>
      <vt:lpstr>Conducting a Future Needs Assessment</vt:lpstr>
      <vt:lpstr>Example: YMCA’s collaboration with for-profit insurers</vt:lpstr>
      <vt:lpstr>Example: What were the new capabilities needed for the DPP program to be successful?  </vt:lpstr>
      <vt:lpstr>Template: What are the capabilities needed for the change in your organization?  </vt:lpstr>
      <vt:lpstr>Template: What are the new capabilities needed for the change in your organization?  </vt:lpstr>
    </vt:vector>
  </TitlesOfParts>
  <Company>Bain &amp; Company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our next step: Create a Plan A</dc:title>
  <dc:creator>Laura Burkhauser</dc:creator>
  <dc:description>Blank.potx Letter, Apr 4/12 by TJN</dc:description>
  <cp:lastModifiedBy>Carole Matthews</cp:lastModifiedBy>
  <cp:revision>41</cp:revision>
  <dcterms:created xsi:type="dcterms:W3CDTF">2013-06-11T13:31:30Z</dcterms:created>
  <dcterms:modified xsi:type="dcterms:W3CDTF">2013-06-26T14:57:14Z</dcterms:modified>
</cp:coreProperties>
</file>